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embedTrueTypeFonts="1" saveSubsetFonts="1" autoCompressPictures="0">
  <p:sldMasterIdLst>
    <p:sldMasterId id="2147483664" r:id="rId1"/>
    <p:sldMasterId id="2147483648" r:id="rId2"/>
  </p:sldMasterIdLst>
  <p:notesMasterIdLst>
    <p:notesMasterId r:id="rId23"/>
  </p:notesMasterIdLst>
  <p:sldIdLst>
    <p:sldId id="284" r:id="rId3"/>
    <p:sldId id="261" r:id="rId4"/>
    <p:sldId id="262" r:id="rId5"/>
    <p:sldId id="263" r:id="rId6"/>
    <p:sldId id="264" r:id="rId7"/>
    <p:sldId id="265" r:id="rId8"/>
    <p:sldId id="267" r:id="rId9"/>
    <p:sldId id="268" r:id="rId10"/>
    <p:sldId id="269" r:id="rId11"/>
    <p:sldId id="270" r:id="rId12"/>
    <p:sldId id="271" r:id="rId13"/>
    <p:sldId id="272" r:id="rId14"/>
    <p:sldId id="275" r:id="rId15"/>
    <p:sldId id="285" r:id="rId16"/>
    <p:sldId id="277" r:id="rId17"/>
    <p:sldId id="278" r:id="rId18"/>
    <p:sldId id="279" r:id="rId19"/>
    <p:sldId id="280" r:id="rId20"/>
    <p:sldId id="281" r:id="rId21"/>
    <p:sldId id="283" r:id="rId22"/>
  </p:sldIdLst>
  <p:sldSz cx="12192000" cy="6858000"/>
  <p:notesSz cx="6858000" cy="9144000"/>
  <p:embeddedFontLst>
    <p:embeddedFont>
      <p:font typeface="Calibri" panose="020F0502020204030204" pitchFamily="34" charset="0"/>
      <p:regular r:id="rId24"/>
      <p:bold r:id="rId25"/>
      <p:italic r:id="rId26"/>
      <p:boldItalic r:id="rId2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 userDrawn="1">
          <p15:clr>
            <a:srgbClr val="A4A3A4"/>
          </p15:clr>
        </p15:guide>
        <p15:guide id="2" pos="648" userDrawn="1">
          <p15:clr>
            <a:srgbClr val="A4A3A4"/>
          </p15:clr>
        </p15:guide>
      </p15:sld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7" roundtripDataSignature="AMtx7milBoUIjlRErK1LsMPmLfA5qZpGsg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788" y="60"/>
      </p:cViewPr>
      <p:guideLst>
        <p:guide orient="horz" pos="648"/>
        <p:guide pos="6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3.fntdata"/><Relationship Id="rId39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2.fntdata"/><Relationship Id="rId38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.fntdata"/><Relationship Id="rId37" Type="http://customschemas.google.com/relationships/presentationmetadata" Target="metadata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1" name="Google Shape;141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142" name="Google Shape;142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</a:t>
            </a:fld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0" name="Google Shape;220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1" name="Google Shape;221;p1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1</a:t>
            </a:fld>
            <a:endParaRPr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7" name="Google Shape;227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28" name="Google Shape;228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2</a:t>
            </a:fld>
            <a:endParaRPr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0" name="Google Shape;250;p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1" name="Google Shape;251;p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3</a:t>
            </a:fld>
            <a:endParaRPr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6" name="Google Shape;266;p2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7" name="Google Shape;267;p2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5</a:t>
            </a:fld>
            <a:endParaRPr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3" name="Google Shape;273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74" name="Google Shape;274;p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6</a:t>
            </a:fld>
            <a:endParaRPr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0" name="Google Shape;280;p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81" name="Google Shape;281;p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7</a:t>
            </a:fld>
            <a:endParaRPr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g5ff6e2f71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1" name="Google Shape;291;g5ff6e2f71d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92" name="Google Shape;292;g5ff6e2f71d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8</a:t>
            </a:fld>
            <a:endParaRPr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Google Shape;298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9" name="Google Shape;299;p2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00" name="Google Shape;300;p2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5" name="Google Shape;315;p3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316" name="Google Shape;316;p3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0</a:t>
            </a:fld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7" name="Google Shape;147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48" name="Google Shape;148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3</a:t>
            </a:fld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6" name="Google Shape;156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57" name="Google Shape;157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4</a:t>
            </a:fld>
            <a:endParaRPr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g63bc22afdd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6" name="Google Shape;166;g63bc22afdd_2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67" name="Google Shape;167;g63bc22afdd_2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5</a:t>
            </a:fld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4" name="Google Shape;174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5" name="Google Shape;175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6</a:t>
            </a:fld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3" name="Google Shape;193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/>
          </a:p>
        </p:txBody>
      </p:sp>
      <p:sp>
        <p:nvSpPr>
          <p:cNvPr id="194" name="Google Shape;194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7</a:t>
            </a:fld>
            <a:endParaRPr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9" name="Google Shape;199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0" name="Google Shape;200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8</a:t>
            </a:fld>
            <a:endParaRPr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6" name="Google Shape;206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7" name="Google Shape;207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9</a:t>
            </a:fld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3" name="Google Shape;213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4" name="Google Shape;214;p1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0</a:t>
            </a:fld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235" b="15046"/>
          <a:stretch/>
        </p:blipFill>
        <p:spPr>
          <a:xfrm>
            <a:off x="-18148" y="1003931"/>
            <a:ext cx="8523942" cy="588260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0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79"/>
            <a:ext cx="7085019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A3A5C8D2-A30C-F941-B50F-7022CA072F83}" type="datetime4">
              <a:rPr lang="en-US" smtClean="0"/>
              <a:t>September 26, 2019</a:t>
            </a:fld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1437347" y="1979094"/>
            <a:ext cx="7086598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2" name="Picture 1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5924" y="310458"/>
            <a:ext cx="10172466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95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alpha val="42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0842111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374895"/>
      </p:ext>
    </p:extLst>
  </p:cSld>
  <p:clrMapOvr>
    <a:masterClrMapping/>
  </p:clrMapOvr>
  <p:transition>
    <p:wipe dir="r"/>
  </p:transition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3394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304" y="1755648"/>
            <a:ext cx="11108309" cy="43342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/>
            </a:lvl1pPr>
            <a:lvl2pPr marL="0" indent="0">
              <a:lnSpc>
                <a:spcPct val="100000"/>
              </a:lnSpc>
              <a:buFont typeface="Arial" charset="0"/>
              <a:buNone/>
              <a:defRPr sz="3600">
                <a:solidFill>
                  <a:schemeClr val="tx1"/>
                </a:solidFill>
              </a:defRPr>
            </a:lvl2pPr>
            <a:lvl3pPr marL="274320" indent="-274320">
              <a:lnSpc>
                <a:spcPct val="100000"/>
              </a:lnSpc>
              <a:defRPr sz="3200">
                <a:solidFill>
                  <a:schemeClr val="tx1"/>
                </a:solidFill>
              </a:defRPr>
            </a:lvl3pPr>
            <a:lvl4pPr marL="548640" indent="-274320">
              <a:lnSpc>
                <a:spcPct val="100000"/>
              </a:lnSpc>
              <a:defRPr sz="2800">
                <a:solidFill>
                  <a:schemeClr val="tx1"/>
                </a:solidFill>
              </a:defRPr>
            </a:lvl4pPr>
            <a:lvl5pPr marL="548640">
              <a:lnSpc>
                <a:spcPct val="95000"/>
              </a:lnSpc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2886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304" y="1757680"/>
            <a:ext cx="11108309" cy="433832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600"/>
            </a:lvl1pPr>
            <a:lvl2pPr marL="0" indent="0">
              <a:lnSpc>
                <a:spcPct val="100000"/>
              </a:lnSpc>
              <a:buFont typeface="Arial" charset="0"/>
              <a:buNone/>
              <a:defRPr sz="3600">
                <a:solidFill>
                  <a:schemeClr val="tx1"/>
                </a:solidFill>
              </a:defRPr>
            </a:lvl2pPr>
            <a:lvl3pPr marL="274320" indent="-274320">
              <a:lnSpc>
                <a:spcPct val="100000"/>
              </a:lnSpc>
              <a:defRPr sz="3200">
                <a:solidFill>
                  <a:schemeClr val="tx1"/>
                </a:solidFill>
              </a:defRPr>
            </a:lvl3pPr>
            <a:lvl4pPr marL="548640" indent="-274320">
              <a:lnSpc>
                <a:spcPct val="100000"/>
              </a:lnSpc>
              <a:defRPr sz="2800">
                <a:solidFill>
                  <a:schemeClr val="tx1"/>
                </a:solidFill>
              </a:defRPr>
            </a:lvl4pPr>
            <a:lvl5pPr marL="548640">
              <a:lnSpc>
                <a:spcPct val="95000"/>
              </a:lnSpc>
              <a:defRPr sz="2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24657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486148" y="1810751"/>
            <a:ext cx="5191404" cy="4271963"/>
          </a:xfrm>
        </p:spPr>
        <p:txBody>
          <a:bodyPr/>
          <a:lstStyle>
            <a:lvl1pPr>
              <a:defRPr sz="2200"/>
            </a:lvl1pPr>
            <a:lvl2pPr marL="0" indent="0">
              <a:buFont typeface="Arial" charset="0"/>
              <a:buNone/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3052" y="1810751"/>
            <a:ext cx="5191404" cy="4271963"/>
          </a:xfrm>
        </p:spPr>
        <p:txBody>
          <a:bodyPr/>
          <a:lstStyle>
            <a:lvl1pPr>
              <a:defRPr sz="2200"/>
            </a:lvl1pPr>
            <a:lvl2pPr marL="0" indent="0">
              <a:buFont typeface="Arial" charset="0"/>
              <a:buNone/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989962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486148" y="1810751"/>
            <a:ext cx="5191404" cy="4271963"/>
          </a:xfrm>
        </p:spPr>
        <p:txBody>
          <a:bodyPr/>
          <a:lstStyle>
            <a:lvl1pPr>
              <a:defRPr sz="2200"/>
            </a:lvl1pPr>
            <a:lvl2pPr marL="0" indent="0">
              <a:buFont typeface="Arial" charset="0"/>
              <a:buNone/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503052" y="1810751"/>
            <a:ext cx="5191404" cy="4271963"/>
          </a:xfrm>
        </p:spPr>
        <p:txBody>
          <a:bodyPr/>
          <a:lstStyle>
            <a:lvl1pPr>
              <a:defRPr sz="2200"/>
            </a:lvl1pPr>
            <a:lvl2pPr marL="0" indent="0">
              <a:buFont typeface="Arial" charset="0"/>
              <a:buNone/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437704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30040" y="1810751"/>
            <a:ext cx="3254233" cy="4271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4361504" y="1810751"/>
            <a:ext cx="3254233" cy="4271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517435" y="1810751"/>
            <a:ext cx="3254233" cy="4271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59235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30040" y="1810751"/>
            <a:ext cx="3254233" cy="4271963"/>
          </a:xfrm>
        </p:spPr>
        <p:txBody>
          <a:bodyPr/>
          <a:lstStyle>
            <a:lvl1pPr>
              <a:defRPr sz="1800"/>
            </a:lvl1pPr>
            <a:lvl2pPr marL="0" indent="0">
              <a:buFont typeface="Arial" charset="0"/>
              <a:buNone/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4361504" y="1810751"/>
            <a:ext cx="3254233" cy="4271963"/>
          </a:xfrm>
        </p:spPr>
        <p:txBody>
          <a:bodyPr/>
          <a:lstStyle>
            <a:lvl1pPr>
              <a:defRPr sz="1800"/>
            </a:lvl1pPr>
            <a:lvl2pPr marL="0" indent="0">
              <a:buFont typeface="Arial" charset="0"/>
              <a:buNone/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517435" y="1810751"/>
            <a:ext cx="3254233" cy="4271963"/>
          </a:xfrm>
        </p:spPr>
        <p:txBody>
          <a:bodyPr/>
          <a:lstStyle>
            <a:lvl1pPr>
              <a:defRPr sz="1800"/>
            </a:lvl1pPr>
            <a:lvl2pPr marL="0" indent="0">
              <a:buFont typeface="Arial" charset="0"/>
              <a:buNone/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88052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97537" y="1905002"/>
            <a:ext cx="10975659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rgbClr val="D1D3D5"/>
                </a:solidFill>
              </a:defRPr>
            </a:lvl1pPr>
            <a:lvl2pPr marL="137112" indent="-137112">
              <a:buClr>
                <a:schemeClr val="bg2"/>
              </a:buClr>
              <a:defRPr sz="1900" baseline="0"/>
            </a:lvl2pPr>
            <a:lvl3pPr>
              <a:defRPr sz="1900" baseline="0"/>
            </a:lvl3pPr>
            <a:lvl4pPr>
              <a:defRPr sz="1900"/>
            </a:lvl4pPr>
            <a:lvl5pPr>
              <a:defRPr sz="1500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3175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30615" r="-217" b="1"/>
          <a:stretch/>
        </p:blipFill>
        <p:spPr>
          <a:xfrm>
            <a:off x="2" y="996913"/>
            <a:ext cx="8523943" cy="5899912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0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79"/>
            <a:ext cx="7085019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AE18710C-EBF1-124A-802A-A16BBA9EB32E}" type="datetime4">
              <a:rPr lang="en-US" smtClean="0"/>
              <a:pPr/>
              <a:t>September 26, 2019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7347" y="1979094"/>
            <a:ext cx="7086598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5924" y="310458"/>
            <a:ext cx="10172466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603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97537" y="1905002"/>
            <a:ext cx="10975659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rgbClr val="D1D3D5"/>
                </a:solidFill>
              </a:defRPr>
            </a:lvl1pPr>
            <a:lvl2pPr marL="137112" indent="-137112">
              <a:buClr>
                <a:schemeClr val="bg2"/>
              </a:buClr>
              <a:defRPr sz="1900" baseline="0"/>
            </a:lvl2pPr>
            <a:lvl3pPr>
              <a:defRPr sz="1900" baseline="0"/>
            </a:lvl3pPr>
            <a:lvl4pPr>
              <a:defRPr sz="1900"/>
            </a:lvl4pPr>
            <a:lvl5pPr>
              <a:defRPr sz="1500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74597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tione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30040" y="1810751"/>
            <a:ext cx="3379576" cy="4271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8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597540" y="1905002"/>
            <a:ext cx="7242327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chemeClr val="bg1">
                    <a:lumMod val="85000"/>
                  </a:schemeClr>
                </a:solidFill>
              </a:defRPr>
            </a:lvl1pPr>
            <a:lvl2pPr marL="137112" indent="-137112">
              <a:buClr>
                <a:schemeClr val="bg2"/>
              </a:buClr>
              <a:defRPr sz="1900" baseline="0"/>
            </a:lvl2pPr>
            <a:lvl3pPr>
              <a:defRPr sz="1900" baseline="0"/>
            </a:lvl3pPr>
            <a:lvl4pPr>
              <a:defRPr sz="1900"/>
            </a:lvl4pPr>
            <a:lvl5pPr>
              <a:defRPr sz="1500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98831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Captione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5"/>
          <p:cNvSpPr>
            <a:spLocks noGrp="1"/>
          </p:cNvSpPr>
          <p:nvPr>
            <p:ph sz="quarter" idx="25" hasCustomPrompt="1"/>
          </p:nvPr>
        </p:nvSpPr>
        <p:spPr>
          <a:xfrm>
            <a:off x="8230040" y="1810751"/>
            <a:ext cx="3379573" cy="4271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content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13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597540" y="1905002"/>
            <a:ext cx="7242327" cy="4178300"/>
          </a:xfrm>
          <a:prstGeom prst="rect">
            <a:avLst/>
          </a:prstGeom>
        </p:spPr>
        <p:txBody>
          <a:bodyPr/>
          <a:lstStyle>
            <a:lvl1pPr>
              <a:defRPr sz="2000" b="1" baseline="0">
                <a:solidFill>
                  <a:schemeClr val="bg1">
                    <a:lumMod val="85000"/>
                  </a:schemeClr>
                </a:solidFill>
              </a:defRPr>
            </a:lvl1pPr>
            <a:lvl2pPr marL="137112" indent="-137112">
              <a:buClr>
                <a:schemeClr val="bg2"/>
              </a:buClr>
              <a:defRPr sz="1900" baseline="0"/>
            </a:lvl2pPr>
            <a:lvl3pPr>
              <a:defRPr sz="1900" baseline="0"/>
            </a:lvl3pPr>
            <a:lvl4pPr>
              <a:defRPr sz="1900"/>
            </a:lvl4pPr>
            <a:lvl5pPr>
              <a:defRPr sz="1500" baseline="0"/>
            </a:lvl5pPr>
          </a:lstStyle>
          <a:p>
            <a:pPr lvl="0"/>
            <a:r>
              <a:rPr lang="en-US" dirty="0" smtClean="0"/>
              <a:t>Click on an icon to insert charts, tables and imag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1303" y="787384"/>
            <a:ext cx="11108309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 spc="-4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600" b="0" i="0">
                <a:solidFill>
                  <a:schemeClr val="bg2"/>
                </a:solidFill>
              </a:defRPr>
            </a:lvl2pPr>
            <a:lvl3pPr>
              <a:defRPr sz="1600" b="0" i="0">
                <a:solidFill>
                  <a:schemeClr val="bg2"/>
                </a:solidFill>
              </a:defRPr>
            </a:lvl3pPr>
            <a:lvl4pPr>
              <a:defRPr sz="1600" b="0" i="0">
                <a:solidFill>
                  <a:schemeClr val="bg2"/>
                </a:solidFill>
              </a:defRPr>
            </a:lvl4pPr>
            <a:lvl5pPr>
              <a:defRPr sz="1600" b="0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add a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28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01304" y="1787528"/>
            <a:ext cx="11108311" cy="4270375"/>
          </a:xfrm>
        </p:spPr>
        <p:txBody>
          <a:bodyPr>
            <a:normAutofit/>
          </a:bodyPr>
          <a:lstStyle>
            <a:lvl1pPr>
              <a:defRPr sz="2600">
                <a:solidFill>
                  <a:schemeClr val="bg1"/>
                </a:solidFill>
              </a:defRPr>
            </a:lvl1pPr>
            <a:lvl2pPr>
              <a:defRPr sz="2600" baseline="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genda items</a:t>
            </a:r>
          </a:p>
          <a:p>
            <a:pPr lvl="1"/>
            <a:r>
              <a:rPr lang="en-US" dirty="0" smtClean="0"/>
              <a:t>Use paragraph spacing before to fit fewer or more items</a:t>
            </a:r>
          </a:p>
          <a:p>
            <a:pPr lvl="2"/>
            <a:r>
              <a:rPr lang="en-US" dirty="0" smtClean="0"/>
              <a:t>Use paragraph indents to nest subtopics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01566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6"/>
            <a:ext cx="11110013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7000">
                <a:solidFill>
                  <a:schemeClr val="tx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tx1"/>
                </a:solidFill>
              </a:defRPr>
            </a:lvl2pPr>
            <a:lvl3pPr marL="274320" indent="-274320" algn="ctr">
              <a:buClrTx/>
              <a:buFont typeface="Lucida Grande"/>
              <a:buChar char="–"/>
              <a:defRPr sz="2800">
                <a:solidFill>
                  <a:schemeClr val="tx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tx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093687"/>
      </p:ext>
    </p:extLst>
  </p:cSld>
  <p:clrMapOvr>
    <a:masterClrMapping/>
  </p:clrMapOvr>
  <p:transition>
    <p:wipe dir="r"/>
  </p:transition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6"/>
            <a:ext cx="11110013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7000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bg1"/>
                </a:solidFill>
              </a:defRPr>
            </a:lvl2pPr>
            <a:lvl3pPr marL="274320" indent="-274320" algn="ctr">
              <a:buClrTx/>
              <a:buFont typeface="Lucida Grande"/>
              <a:buChar char="–"/>
              <a:defRPr sz="28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8126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11630" y="2360542"/>
            <a:ext cx="10852029" cy="1938974"/>
          </a:xfrm>
        </p:spPr>
        <p:txBody>
          <a:bodyPr numCol="2" spcCol="914400" anchor="ctr"/>
          <a:lstStyle>
            <a:lvl1pPr>
              <a:lnSpc>
                <a:spcPct val="95000"/>
              </a:lnSpc>
              <a:defRPr sz="4000" baseline="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3200" baseline="0">
                <a:solidFill>
                  <a:schemeClr val="tx1"/>
                </a:solidFill>
              </a:defRPr>
            </a:lvl2pPr>
            <a:lvl3pPr marL="274320" indent="-274320">
              <a:lnSpc>
                <a:spcPct val="95000"/>
              </a:lnSpc>
              <a:buClrTx/>
              <a:buSzPct val="100000"/>
              <a:buFont typeface="Lucida Grande"/>
              <a:buChar char="–"/>
              <a:defRPr sz="2000" b="1" i="0">
                <a:solidFill>
                  <a:schemeClr val="tx1"/>
                </a:solidFill>
              </a:defRPr>
            </a:lvl3pPr>
            <a:lvl4pPr marL="274320" indent="0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4pPr>
            <a:lvl5pPr marL="274320">
              <a:lnSpc>
                <a:spcPct val="95000"/>
              </a:lnSpc>
              <a:defRPr sz="1800" b="0" i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add a section title or quote	</a:t>
            </a:r>
          </a:p>
          <a:p>
            <a:pPr lvl="0"/>
            <a:r>
              <a:rPr lang="en-US" dirty="0" smtClean="0"/>
              <a:t>Click to add a second section title or quote</a:t>
            </a:r>
          </a:p>
        </p:txBody>
      </p:sp>
    </p:spTree>
    <p:extLst>
      <p:ext uri="{BB962C8B-B14F-4D97-AF65-F5344CB8AC3E}">
        <p14:creationId xmlns:p14="http://schemas.microsoft.com/office/powerpoint/2010/main" val="3394684057"/>
      </p:ext>
    </p:extLst>
  </p:cSld>
  <p:clrMapOvr>
    <a:masterClrMapping/>
  </p:clrMapOvr>
  <p:transition>
    <p:wipe dir="r"/>
  </p:transition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599967" y="-2701021"/>
            <a:ext cx="6945465" cy="12347491"/>
          </a:xfrm>
          <a:prstGeom prst="rect">
            <a:avLst/>
          </a:prstGeom>
        </p:spPr>
      </p:pic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6"/>
            <a:ext cx="11110013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7000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bg1"/>
                </a:solidFill>
              </a:defRPr>
            </a:lvl2pPr>
            <a:lvl3pPr marL="274320" indent="-274320" algn="ctr">
              <a:buClrTx/>
              <a:buFont typeface="Lucida Grande"/>
              <a:buChar char="–"/>
              <a:defRPr sz="28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856200"/>
      </p:ext>
    </p:extLst>
  </p:cSld>
  <p:clrMapOvr>
    <a:masterClrMapping/>
  </p:clrMapOvr>
  <p:transition>
    <p:wipe dir="r"/>
  </p:transition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0811" y="-2"/>
            <a:ext cx="12357775" cy="6922390"/>
          </a:xfrm>
          <a:prstGeom prst="rect">
            <a:avLst/>
          </a:prstGeom>
        </p:spPr>
      </p:pic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6"/>
            <a:ext cx="11110013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7000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bg1"/>
                </a:solidFill>
              </a:defRPr>
            </a:lvl2pPr>
            <a:lvl3pPr marL="274320" indent="-274320" algn="ctr">
              <a:buClrTx/>
              <a:buFont typeface="Lucida Grande"/>
              <a:buChar char="–"/>
              <a:defRPr sz="28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758877"/>
      </p:ext>
    </p:extLst>
  </p:cSld>
  <p:clrMapOvr>
    <a:masterClrMapping/>
  </p:clrMapOvr>
  <p:transition>
    <p:wipe dir="r"/>
  </p:transition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7222" y="0"/>
            <a:ext cx="12282201" cy="6921862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4612" y="2301346"/>
            <a:ext cx="11110013" cy="1837102"/>
          </a:xfrm>
        </p:spPr>
        <p:txBody>
          <a:bodyPr anchor="ctr"/>
          <a:lstStyle>
            <a:lvl1pPr marL="0" algn="ctr">
              <a:buClrTx/>
              <a:buFontTx/>
              <a:buNone/>
              <a:defRPr sz="7000">
                <a:solidFill>
                  <a:schemeClr val="bg1"/>
                </a:solidFill>
              </a:defRPr>
            </a:lvl1pPr>
            <a:lvl2pPr marL="0" algn="ctr">
              <a:buClrTx/>
              <a:buFontTx/>
              <a:buNone/>
              <a:defRPr sz="3200">
                <a:solidFill>
                  <a:schemeClr val="bg1"/>
                </a:solidFill>
              </a:defRPr>
            </a:lvl2pPr>
            <a:lvl3pPr marL="274320" indent="-274320" algn="ctr">
              <a:buClrTx/>
              <a:buFont typeface="Lucida Grande"/>
              <a:buChar char="–"/>
              <a:defRPr sz="2800">
                <a:solidFill>
                  <a:schemeClr val="bg1"/>
                </a:solidFill>
              </a:defRPr>
            </a:lvl3pPr>
            <a:lvl4pPr marL="0" indent="0" algn="ctr">
              <a:buClrTx/>
              <a:buFontTx/>
              <a:buNone/>
              <a:defRPr sz="2800">
                <a:solidFill>
                  <a:schemeClr val="bg1"/>
                </a:solidFill>
              </a:defRPr>
            </a:lvl4pPr>
            <a:lvl5pPr marL="0" algn="ctr">
              <a:buClrTx/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section title or quot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18304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1" r="-1025" b="33052"/>
          <a:stretch/>
        </p:blipFill>
        <p:spPr>
          <a:xfrm>
            <a:off x="-43217" y="968375"/>
            <a:ext cx="8948617" cy="592143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0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00" b="0" i="0" cap="none" spc="-31">
                <a:solidFill>
                  <a:schemeClr val="bg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79"/>
            <a:ext cx="7085019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bg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September 26, 2019</a:t>
            </a:fld>
            <a:endParaRPr lang="en-US" dirty="0"/>
          </a:p>
        </p:txBody>
      </p:sp>
      <p:sp>
        <p:nvSpPr>
          <p:cNvPr id="14" name="Title 18"/>
          <p:cNvSpPr>
            <a:spLocks noGrp="1"/>
          </p:cNvSpPr>
          <p:nvPr>
            <p:ph type="title" hasCustomPrompt="1"/>
          </p:nvPr>
        </p:nvSpPr>
        <p:spPr>
          <a:xfrm>
            <a:off x="1437347" y="1979094"/>
            <a:ext cx="7086598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00" b="1" i="0" cap="none" spc="-3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5924" y="310458"/>
            <a:ext cx="10172466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742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Title Phot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1" y="0"/>
            <a:ext cx="12192000" cy="6858000"/>
          </a:xfrm>
        </p:spPr>
        <p:txBody>
          <a:bodyPr lIns="457200" tIns="457200" rIns="457200" bIns="457200"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into background to insert charts, tables and imag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2680680"/>
            <a:ext cx="12192000" cy="1190069"/>
          </a:xfrm>
          <a:solidFill>
            <a:schemeClr val="bg1"/>
          </a:solidFill>
        </p:spPr>
        <p:txBody>
          <a:bodyPr wrap="square" lIns="457200" tIns="228600" rIns="457200" bIns="365760" anchor="ctr">
            <a:spAutoFit/>
          </a:bodyPr>
          <a:lstStyle>
            <a:lvl1pPr marL="0" indent="-13716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4000" baseline="0">
                <a:solidFill>
                  <a:schemeClr val="tx1"/>
                </a:solidFill>
              </a:defRPr>
            </a:lvl1pPr>
            <a:lvl2pPr marL="0" indent="-13716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defRPr sz="3200" baseline="0">
                <a:solidFill>
                  <a:schemeClr val="tx1"/>
                </a:solidFill>
              </a:defRPr>
            </a:lvl2pPr>
            <a:lvl3pPr marL="0" indent="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Tx/>
              <a:buSzPct val="100000"/>
              <a:buFont typeface="Lucida Grande"/>
              <a:buNone/>
              <a:defRPr sz="2000" b="1" i="0">
                <a:solidFill>
                  <a:schemeClr val="tx1"/>
                </a:solidFill>
              </a:defRPr>
            </a:lvl3pPr>
            <a:lvl4pPr marL="0" indent="-13716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FontTx/>
              <a:buNone/>
              <a:defRPr sz="1800">
                <a:solidFill>
                  <a:schemeClr val="tx1"/>
                </a:solidFill>
              </a:defRPr>
            </a:lvl4pPr>
            <a:lvl5pPr marL="0" indent="-13716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defRPr sz="1800" b="0" i="0">
                <a:solidFill>
                  <a:schemeClr val="tx1"/>
                </a:solidFill>
              </a:defRPr>
            </a:lvl5pPr>
            <a:lvl6pPr marL="0" indent="0" algn="ctr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None/>
              <a:defRPr/>
            </a:lvl6pPr>
          </a:lstStyle>
          <a:p>
            <a:pPr lvl="0"/>
            <a:r>
              <a:rPr lang="en-US" dirty="0" smtClean="0"/>
              <a:t>Click to add a section title or quote</a:t>
            </a:r>
          </a:p>
        </p:txBody>
      </p:sp>
    </p:spTree>
    <p:extLst>
      <p:ext uri="{BB962C8B-B14F-4D97-AF65-F5344CB8AC3E}">
        <p14:creationId xmlns:p14="http://schemas.microsoft.com/office/powerpoint/2010/main" val="1723944376"/>
      </p:ext>
    </p:extLst>
  </p:cSld>
  <p:clrMapOvr>
    <a:masterClrMapping/>
  </p:clrMapOvr>
  <p:transition>
    <p:wipe dir="r"/>
  </p:transition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title Blank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 txBox="1">
            <a:spLocks noGrp="1"/>
          </p:cNvSpPr>
          <p:nvPr>
            <p:ph type="body" idx="1"/>
          </p:nvPr>
        </p:nvSpPr>
        <p:spPr>
          <a:xfrm>
            <a:off x="501304" y="787384"/>
            <a:ext cx="11108309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L="609402" marR="0" lvl="0" indent="-304701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500"/>
              <a:buFont typeface="Arial"/>
              <a:buNone/>
              <a:defRPr sz="1999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8804" marR="0" lvl="1" indent="-304701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Arial"/>
              <a:buNone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205" marR="0" lvl="2" indent="-397804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chemeClr val="lt2"/>
              </a:buClr>
              <a:buSzPts val="11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7607" marR="0" lvl="3" indent="-406268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Merriweather Sans"/>
              <a:buChar char="–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010" marR="0" lvl="4" indent="-304701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6412" marR="0" lvl="5" indent="-406268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5813" marR="0" lvl="6" indent="-406268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5215" marR="0" lvl="7" indent="-406268" algn="l" rtl="0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4617" marR="0" lvl="8" indent="-406268" algn="l" rtl="0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dk1"/>
              </a:buClr>
              <a:buSzPts val="12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" name="Shape 117"/>
          <p:cNvSpPr txBox="1">
            <a:spLocks noGrp="1"/>
          </p:cNvSpPr>
          <p:nvPr>
            <p:ph type="title"/>
          </p:nvPr>
        </p:nvSpPr>
        <p:spPr>
          <a:xfrm>
            <a:off x="501305" y="314479"/>
            <a:ext cx="11108311" cy="5467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/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300"/>
              <a:buFont typeface="Arial"/>
              <a:buNone/>
              <a:defRPr sz="3066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  <a:defRPr sz="1866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  <a:defRPr sz="1866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  <a:defRPr sz="1866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  <a:defRPr sz="1866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  <a:defRPr sz="1866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  <a:defRPr sz="1866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  <a:defRPr sz="1866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Font typeface="Arial"/>
              <a:buNone/>
              <a:defRPr sz="1866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64306061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36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" name="Google Shape;41;p36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Google Shape;42;p3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3" name="Google Shape;43;p3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4" name="Google Shape;44;p3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3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Google Shape;47;p3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3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9" name="Google Shape;49;p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0" name="Google Shape;50;p3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38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38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3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5" name="Google Shape;55;p3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6" name="Google Shape;56;p3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3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9" name="Google Shape;59;p3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0" name="Google Shape;60;p39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" name="Google Shape;61;p3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2" name="Google Shape;62;p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" name="Google Shape;63;p3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40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6" name="Google Shape;66;p40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40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4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4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0" name="Google Shape;70;p4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1" name="Google Shape;71;p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2" name="Google Shape;72;p4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4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5" name="Google Shape;75;p4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6" name="Google Shape;76;p4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7" name="Google Shape;77;p4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4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Google Shape;80;p42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42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4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3" name="Google Shape;83;p4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4" name="Google Shape;84;p4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43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43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8" name="Google Shape;88;p43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9" name="Google Shape;89;p4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90" name="Google Shape;90;p4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91" name="Google Shape;91;p4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05615" y="2546401"/>
            <a:ext cx="4417181" cy="4234560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0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00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79"/>
            <a:ext cx="7085019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September 26, 2019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7347" y="1979094"/>
            <a:ext cx="7086598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00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5924" y="310458"/>
            <a:ext cx="10172466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502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4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" name="Google Shape;94;p44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5" name="Google Shape;95;p4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96" name="Google Shape;96;p4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97" name="Google Shape;97;p4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5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0" name="Google Shape;100;p45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1" name="Google Shape;101;p4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02" name="Google Shape;102;p4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03" name="Google Shape;103;p4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 txBox="1">
            <a:spLocks/>
          </p:cNvSpPr>
          <p:nvPr userDrawn="1"/>
        </p:nvSpPr>
        <p:spPr>
          <a:xfrm>
            <a:off x="11395604" y="6472378"/>
            <a:ext cx="358600" cy="187367"/>
          </a:xfrm>
          <a:prstGeom prst="rect">
            <a:avLst/>
          </a:prstGeom>
        </p:spPr>
        <p:txBody>
          <a:bodyPr vert="horz" lIns="91424" tIns="45711" rIns="91424" bIns="45711" rtlCol="0" anchor="ctr" anchorCtr="0">
            <a:noAutofit/>
          </a:bodyPr>
          <a:lstStyle>
            <a:defPPr>
              <a:defRPr lang="en-US"/>
            </a:defPPr>
            <a:lvl1pPr marL="0" algn="l" defTabSz="457791" rtl="0" eaLnBrk="1" latinLnBrk="0" hangingPunct="1">
              <a:defRPr sz="700" b="1" i="0" kern="1200" cap="all">
                <a:solidFill>
                  <a:schemeClr val="tx1"/>
                </a:solidFill>
                <a:latin typeface="+mj-lt"/>
                <a:ea typeface="+mn-ea"/>
                <a:cs typeface="Avenir Next Regular"/>
              </a:defRPr>
            </a:lvl1pPr>
            <a:lvl2pPr marL="45779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5581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337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116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895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674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4532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62323" algn="l" defTabSz="457791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56B42B-F7AA-C142-B696-79F8581D06F8}" type="slidenum">
              <a:rPr lang="en-US" sz="700" smtClean="0"/>
              <a:pPr/>
              <a:t>‹#›</a:t>
            </a:fld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1154792366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145"/>
          <a:stretch/>
        </p:blipFill>
        <p:spPr>
          <a:xfrm>
            <a:off x="-9072" y="1469708"/>
            <a:ext cx="4014999" cy="5434975"/>
          </a:xfrm>
          <a:prstGeom prst="rect">
            <a:avLst/>
          </a:prstGeom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0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00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79"/>
            <a:ext cx="7085019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September 26, 2019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7347" y="1979094"/>
            <a:ext cx="7086598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00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5924" y="310458"/>
            <a:ext cx="10172466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190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t="-180" r="-96"/>
          <a:stretch/>
        </p:blipFill>
        <p:spPr>
          <a:xfrm>
            <a:off x="-9074" y="2508426"/>
            <a:ext cx="4393506" cy="439625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923" y="5014010"/>
            <a:ext cx="7085019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200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7015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4033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1048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8061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an author</a:t>
            </a:r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923" y="4430579"/>
            <a:ext cx="7085019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39CC06A5-50BA-DA4D-A114-7DE43209630B}" type="datetime4">
              <a:rPr lang="en-US" smtClean="0"/>
              <a:pPr/>
              <a:t>September 26, 2019</a:t>
            </a:fld>
            <a:endParaRPr lang="en-US" dirty="0"/>
          </a:p>
        </p:txBody>
      </p:sp>
      <p:sp>
        <p:nvSpPr>
          <p:cNvPr id="13" name="Title 18"/>
          <p:cNvSpPr>
            <a:spLocks noGrp="1"/>
          </p:cNvSpPr>
          <p:nvPr>
            <p:ph type="title" hasCustomPrompt="1"/>
          </p:nvPr>
        </p:nvSpPr>
        <p:spPr>
          <a:xfrm>
            <a:off x="1437347" y="1979094"/>
            <a:ext cx="7086598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ct val="95000"/>
              </a:lnSpc>
              <a:defRPr sz="5000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pic>
        <p:nvPicPr>
          <p:cNvPr id="7" name="Picture 6" descr="Cornerstone_2016_RGB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5924" y="310458"/>
            <a:ext cx="10172466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934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5081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7337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231396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4"/>
            </p:custDataLst>
            <p:extLst/>
          </p:nvPr>
        </p:nvGraphicFramePr>
        <p:xfrm>
          <a:off x="1589" y="1595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35" imgW="216" imgH="216" progId="TCLayout.ActiveDocument.1">
                  <p:embed/>
                </p:oleObj>
              </mc:Choice>
              <mc:Fallback>
                <p:oleObj name="think-cell Slide" r:id="rId35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95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Intuit_2016_RGB.eps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738" y="6364952"/>
            <a:ext cx="740945" cy="363736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501306" y="1828800"/>
            <a:ext cx="11110426" cy="4267200"/>
          </a:xfrm>
          <a:prstGeom prst="rect">
            <a:avLst/>
          </a:prstGeom>
        </p:spPr>
        <p:txBody>
          <a:bodyPr vert="horz" lIns="91424" tIns="45711" rIns="91424" bIns="45711" rtlCol="0">
            <a:noAutofit/>
          </a:bodyPr>
          <a:lstStyle/>
          <a:p>
            <a:pPr lvl="0"/>
            <a:r>
              <a:rPr lang="en-US" dirty="0" smtClean="0"/>
              <a:t>Click to add content</a:t>
            </a:r>
          </a:p>
          <a:p>
            <a:pPr lvl="1"/>
            <a:r>
              <a:rPr lang="en-US" dirty="0" smtClean="0"/>
              <a:t>Use the Increase/Decrease Indent control to select the second level style  </a:t>
            </a:r>
          </a:p>
          <a:p>
            <a:pPr lvl="2"/>
            <a:r>
              <a:rPr lang="en-US" dirty="0" smtClean="0"/>
              <a:t>Third level style uses bullets to separate ideas</a:t>
            </a:r>
          </a:p>
          <a:p>
            <a:pPr lvl="3"/>
            <a:r>
              <a:rPr lang="en-US" dirty="0" smtClean="0"/>
              <a:t>Fourth level content</a:t>
            </a:r>
          </a:p>
          <a:p>
            <a:pPr lvl="4"/>
            <a:r>
              <a:rPr lang="en-US" dirty="0" smtClean="0"/>
              <a:t>Fifth level content</a:t>
            </a: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501304" y="314478"/>
            <a:ext cx="11108311" cy="546731"/>
          </a:xfrm>
          <a:prstGeom prst="rect">
            <a:avLst/>
          </a:prstGeom>
        </p:spPr>
        <p:txBody>
          <a:bodyPr vert="horz" wrap="none" lIns="91424" tIns="45711" rIns="91424" bIns="45711" rtlCol="0" anchor="t" anchorCtr="0">
            <a:noAutofit/>
          </a:bodyPr>
          <a:lstStyle/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2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</p:sldLayoutIdLst>
  <p:transition>
    <p:wipe dir="r"/>
  </p:transition>
  <p:timing>
    <p:tnLst>
      <p:par>
        <p:cTn id="1" dur="indefinite" restart="never" nodeType="tmRoot"/>
      </p:par>
    </p:tnLst>
  </p:timing>
  <p:hf hdr="0"/>
  <p:txStyles>
    <p:titleStyle>
      <a:lvl1pPr algn="l" defTabSz="457039" rtl="0" eaLnBrk="1" latinLnBrk="0" hangingPunct="1">
        <a:lnSpc>
          <a:spcPct val="95000"/>
        </a:lnSpc>
        <a:spcBef>
          <a:spcPct val="0"/>
        </a:spcBef>
        <a:buNone/>
        <a:defRPr sz="3000" b="1" kern="1200" cap="none" spc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57039" rtl="0" eaLnBrk="1" latinLnBrk="0" hangingPunct="1">
        <a:lnSpc>
          <a:spcPct val="95000"/>
        </a:lnSpc>
        <a:spcBef>
          <a:spcPts val="1800"/>
        </a:spcBef>
        <a:buFontTx/>
        <a:buNone/>
        <a:defRPr sz="2600" b="1" kern="1200" spc="0" baseline="0">
          <a:solidFill>
            <a:schemeClr val="tx1"/>
          </a:solidFill>
          <a:latin typeface="+mj-lt"/>
          <a:ea typeface="+mn-ea"/>
          <a:cs typeface="Avenir Next Demi Bold"/>
        </a:defRPr>
      </a:lvl1pPr>
      <a:lvl2pPr marL="0" indent="0" algn="l" defTabSz="45703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90000"/>
        <a:buFontTx/>
        <a:buNone/>
        <a:defRPr sz="2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45703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90000"/>
        <a:buFont typeface="Arial"/>
        <a:buChar char="•"/>
        <a:defRPr sz="220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72" algn="l" defTabSz="45703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Tx/>
        <a:buSzPct val="100000"/>
        <a:buFont typeface="Lucida Grande"/>
        <a:buChar char="–"/>
        <a:defRPr sz="2000" b="0" i="0" kern="1200" spc="0">
          <a:solidFill>
            <a:schemeClr val="tx1"/>
          </a:solidFill>
          <a:latin typeface="+mn-lt"/>
          <a:ea typeface="+mn-ea"/>
          <a:cs typeface="+mn-cs"/>
        </a:defRPr>
      </a:lvl4pPr>
      <a:lvl5pPr marL="365760" indent="0" algn="l" defTabSz="45703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Clr>
          <a:schemeClr val="tx1"/>
        </a:buClr>
        <a:buSzPct val="90000"/>
        <a:buFontTx/>
        <a:buNone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685800" indent="-228519" algn="l" defTabSz="45703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228519" algn="l" defTabSz="45703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143000" indent="-228519" algn="l" defTabSz="45703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indent="-228519" algn="l" defTabSz="457039" rtl="0" eaLnBrk="1" latinLnBrk="0" hangingPunct="1">
        <a:lnSpc>
          <a:spcPct val="95000"/>
        </a:lnSpc>
        <a:spcBef>
          <a:spcPts val="400"/>
        </a:spcBef>
        <a:spcAft>
          <a:spcPts val="400"/>
        </a:spcAft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9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77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16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55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95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33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72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12" algn="l" defTabSz="4570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3" name="Google Shape;13;p3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4" name="Google Shape;14;p3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E256B61-6AF3-E341-9137-0E086E2110E9}"/>
              </a:ext>
            </a:extLst>
          </p:cNvPr>
          <p:cNvSpPr txBox="1"/>
          <p:nvPr/>
        </p:nvSpPr>
        <p:spPr>
          <a:xfrm>
            <a:off x="3037353" y="1246925"/>
            <a:ext cx="61120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How to Connect your</a:t>
            </a:r>
            <a:endParaRPr lang="en-US" sz="2400" b="1" dirty="0">
              <a:solidFill>
                <a:schemeClr val="accent1"/>
              </a:solidFill>
              <a:latin typeface="AvenirNext forINTUIT" panose="020B0503020202020204" pitchFamily="34" charset="0"/>
            </a:endParaRPr>
          </a:p>
        </p:txBody>
      </p:sp>
      <p:pic>
        <p:nvPicPr>
          <p:cNvPr id="154628" name="Picture 4" descr="Image result for quickbooks logo">
            <a:extLst>
              <a:ext uri="{FF2B5EF4-FFF2-40B4-BE49-F238E27FC236}">
                <a16:creationId xmlns:a16="http://schemas.microsoft.com/office/drawing/2014/main" id="{1AD95086-127B-E743-A2B7-DC99668182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574" y="3890143"/>
            <a:ext cx="5435600" cy="148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3112" y="1804628"/>
            <a:ext cx="4200525" cy="10858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256B61-6AF3-E341-9137-0E086E2110E9}"/>
              </a:ext>
            </a:extLst>
          </p:cNvPr>
          <p:cNvSpPr txBox="1"/>
          <p:nvPr/>
        </p:nvSpPr>
        <p:spPr>
          <a:xfrm>
            <a:off x="3037353" y="3249804"/>
            <a:ext cx="61120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current account with</a:t>
            </a:r>
            <a:endParaRPr lang="en-US" sz="2400" b="1" dirty="0">
              <a:solidFill>
                <a:schemeClr val="accent1"/>
              </a:solidFill>
              <a:latin typeface="AvenirNext forINTUI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876013"/>
      </p:ext>
    </p:extLst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1673"/>
            <a:chExt cx="12192000" cy="6854653"/>
          </a:xfrm>
        </p:grpSpPr>
        <p:pic>
          <p:nvPicPr>
            <p:cNvPr id="216" name="Google Shape;216;p1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1673"/>
              <a:ext cx="12192000" cy="685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7" name="Google Shape;217;p17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6300555" y="2189819"/>
              <a:ext cx="2697141" cy="69479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If none of the existing accounts map to your ICICI Bank Current Account, click ‘add new’ to add it to your chart of accounts</a:t>
            </a:r>
          </a:p>
        </p:txBody>
      </p:sp>
    </p:spTree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1673"/>
            <a:chExt cx="12192000" cy="6854653"/>
          </a:xfrm>
        </p:grpSpPr>
        <p:pic>
          <p:nvPicPr>
            <p:cNvPr id="223" name="Google Shape;223;p18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1673"/>
              <a:ext cx="12192000" cy="685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4" name="Google Shape;224;p1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flipH="1">
              <a:off x="5619961" y="4032441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Select the date range for which transactions have to be fetched from the dropdown list (maximum of 90 days)</a:t>
            </a:r>
          </a:p>
        </p:txBody>
      </p:sp>
    </p:spTree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1673"/>
            <a:chExt cx="12192000" cy="6854653"/>
          </a:xfrm>
        </p:grpSpPr>
        <p:pic>
          <p:nvPicPr>
            <p:cNvPr id="230" name="Google Shape;230;p1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1673"/>
              <a:ext cx="12192000" cy="685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1" name="Google Shape;231;p19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flipH="1">
              <a:off x="8509465" y="4233609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Click ‘Connect’</a:t>
            </a:r>
          </a:p>
        </p:txBody>
      </p:sp>
    </p:spTree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48407"/>
            <a:ext cx="10058400" cy="5486400"/>
            <a:chOff x="0" y="1673"/>
            <a:chExt cx="12192000" cy="6854653"/>
          </a:xfrm>
        </p:grpSpPr>
        <p:pic>
          <p:nvPicPr>
            <p:cNvPr id="253" name="Google Shape;253;p2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1673"/>
              <a:ext cx="12192000" cy="685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4" name="Google Shape;254;p2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flipH="1">
              <a:off x="5583448" y="2752281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5" name="Google Shape;255;p2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flipH="1">
              <a:off x="8326585" y="4361625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Visit ‘ICICI Bank – Corporate Internet Banking’ website to approve the request</a:t>
            </a:r>
          </a:p>
        </p:txBody>
      </p:sp>
    </p:spTree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lh3.googleusercontent.com/hZdkDd2V-tVqnSwpMtGotgAynm7EDEP1bwIRjZfdvKNXI3oVDVAw2L6ugQ_CNHR62MJDJ1NkYUgxUuiCAIHzzpEMqY3JonQspcEp0GWIxoPxfMpFr_rJ8rS3AFUyT_x9Wl8mBOhb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" y="1028699"/>
            <a:ext cx="10058400" cy="54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Login to ICICI Bank – Corporate Internet Banking</a:t>
            </a:r>
          </a:p>
        </p:txBody>
      </p:sp>
    </p:spTree>
    <p:extLst>
      <p:ext uri="{BB962C8B-B14F-4D97-AF65-F5344CB8AC3E}">
        <p14:creationId xmlns:p14="http://schemas.microsoft.com/office/powerpoint/2010/main" val="1500632038"/>
      </p:ext>
    </p:extLst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0"/>
            <a:chExt cx="12191999" cy="6858000"/>
          </a:xfrm>
        </p:grpSpPr>
        <p:pic>
          <p:nvPicPr>
            <p:cNvPr id="269" name="Google Shape;269;p2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0"/>
              <a:ext cx="12191999" cy="6858000"/>
            </a:xfrm>
            <a:prstGeom prst="rect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pic>
        <p:pic>
          <p:nvPicPr>
            <p:cNvPr id="270" name="Google Shape;270;p24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flipH="1">
              <a:off x="8328098" y="1621087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Select ‘Pending on Me’ tab from the Dashboard</a:t>
            </a:r>
          </a:p>
        </p:txBody>
      </p:sp>
    </p:spTree>
  </p:cSld>
  <p:clrMapOvr>
    <a:masterClrMapping/>
  </p:clrMapOvr>
  <p:transition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0"/>
            <a:chExt cx="12192000" cy="6858000"/>
          </a:xfrm>
        </p:grpSpPr>
        <p:pic>
          <p:nvPicPr>
            <p:cNvPr id="276" name="Google Shape;276;p2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  <a:noFill/>
            <a:ln w="1905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pic>
        <p:pic>
          <p:nvPicPr>
            <p:cNvPr id="277" name="Google Shape;277;p25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flipH="1">
              <a:off x="8492690" y="3244243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Click ‘Connected Banking Approval’ tab</a:t>
            </a:r>
          </a:p>
        </p:txBody>
      </p:sp>
    </p:spTree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0"/>
            <a:chExt cx="12192000" cy="6858000"/>
          </a:xfrm>
        </p:grpSpPr>
        <p:grpSp>
          <p:nvGrpSpPr>
            <p:cNvPr id="283" name="Google Shape;283;p26"/>
            <p:cNvGrpSpPr/>
            <p:nvPr/>
          </p:nvGrpSpPr>
          <p:grpSpPr>
            <a:xfrm>
              <a:off x="0" y="0"/>
              <a:ext cx="12192000" cy="6858000"/>
              <a:chOff x="-83124" y="0"/>
              <a:chExt cx="5250180" cy="3011805"/>
            </a:xfrm>
          </p:grpSpPr>
          <p:pic>
            <p:nvPicPr>
              <p:cNvPr id="284" name="Google Shape;284;p26"/>
              <p:cNvPicPr preferRelativeResize="0"/>
              <p:nvPr/>
            </p:nvPicPr>
            <p:blipFill rotWithShape="1">
              <a:blip r:embed="rId3">
                <a:alphaModFix/>
              </a:blip>
              <a:srcRect/>
              <a:stretch/>
            </p:blipFill>
            <p:spPr>
              <a:xfrm>
                <a:off x="-83124" y="0"/>
                <a:ext cx="5250180" cy="3011805"/>
              </a:xfrm>
              <a:prstGeom prst="rect">
                <a:avLst/>
              </a:prstGeom>
              <a:noFill/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</p:pic>
          <p:sp>
            <p:nvSpPr>
              <p:cNvPr id="285" name="Google Shape;285;p26"/>
              <p:cNvSpPr/>
              <p:nvPr/>
            </p:nvSpPr>
            <p:spPr>
              <a:xfrm>
                <a:off x="2032000" y="1089891"/>
                <a:ext cx="618836" cy="230505"/>
              </a:xfrm>
              <a:prstGeom prst="roundRect">
                <a:avLst>
                  <a:gd name="adj" fmla="val 16667"/>
                </a:avLst>
              </a:prstGeom>
              <a:solidFill>
                <a:schemeClr val="lt1"/>
              </a:solidFill>
              <a:ln w="25400" cap="flat" cmpd="sng">
                <a:solidFill>
                  <a:schemeClr val="accent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700" b="0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ntuit</a:t>
                </a:r>
                <a:endParaRPr sz="11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6" name="Google Shape;286;p26"/>
              <p:cNvSpPr/>
              <p:nvPr/>
            </p:nvSpPr>
            <p:spPr>
              <a:xfrm>
                <a:off x="2733963" y="1089891"/>
                <a:ext cx="683491" cy="230910"/>
              </a:xfrm>
              <a:prstGeom prst="roundRect">
                <a:avLst>
                  <a:gd name="adj" fmla="val 16667"/>
                </a:avLst>
              </a:prstGeom>
              <a:solidFill>
                <a:schemeClr val="lt1"/>
              </a:solidFill>
              <a:ln w="25400" cap="flat" cmpd="sng">
                <a:solidFill>
                  <a:schemeClr val="accent6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GB" sz="600" b="1" i="0" u="none" strike="noStrike" cap="none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AGGR0031</a:t>
                </a:r>
                <a:endParaRPr sz="11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287" name="Google Shape;287;p2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848817" y="2481725"/>
              <a:ext cx="1794933" cy="69479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88" name="Google Shape;288;p26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rot="-5400000" flipH="1">
              <a:off x="2202717" y="6152035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A list of pending aggregator approval requests is displayed. Select Intuit and click ‘Approve’</a:t>
            </a:r>
          </a:p>
        </p:txBody>
      </p:sp>
    </p:spTree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0"/>
            <a:chExt cx="12192001" cy="6854653"/>
          </a:xfrm>
        </p:grpSpPr>
        <p:pic>
          <p:nvPicPr>
            <p:cNvPr id="294" name="Google Shape;294;g5ff6e2f71d_0_0"/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0" y="0"/>
              <a:ext cx="12192001" cy="685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95" name="Google Shape;295;g5ff6e2f71d_0_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rot="246391" flipH="1">
              <a:off x="4266157" y="3867134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96" name="Google Shape;296;g5ff6e2f71d_0_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rot="246391" flipH="1">
              <a:off x="2105032" y="4928434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Preview the selected request and enter the one-time password. Click ‘Confirm’</a:t>
            </a:r>
          </a:p>
        </p:txBody>
      </p:sp>
    </p:spTree>
  </p:cSld>
  <p:clrMapOvr>
    <a:masterClrMapping/>
  </p:clrMapOvr>
  <p:transition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1673"/>
            <a:chExt cx="12192000" cy="6854653"/>
          </a:xfrm>
        </p:grpSpPr>
        <p:pic>
          <p:nvPicPr>
            <p:cNvPr id="302" name="Google Shape;302;p28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1673"/>
              <a:ext cx="12192000" cy="685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03" name="Google Shape;303;p2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rot="246395" flipH="1">
              <a:off x="10066557" y="2165034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Go back to QuickBooks. On the top right of the Banking Page, click ‘Update’ to fetch account balance and transactions.</a:t>
            </a:r>
          </a:p>
        </p:txBody>
      </p:sp>
    </p:spTree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Google Shape;144;p5"/>
          <p:cNvPicPr preferRelativeResize="0">
            <a:picLocks noChangeAspect="1"/>
          </p:cNvPicPr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0521" y="1051034"/>
            <a:ext cx="10058400" cy="54864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039493" y="366877"/>
            <a:ext cx="7915321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Sign into your QuickBooks Account</a:t>
            </a:r>
            <a:endParaRPr lang="en-US" sz="2400" b="1" dirty="0">
              <a:solidFill>
                <a:schemeClr val="accent1"/>
              </a:solidFill>
              <a:latin typeface="AvenirNext forINTUIT" panose="020B0503020202020204" pitchFamily="34" charset="0"/>
            </a:endParaRPr>
          </a:p>
        </p:txBody>
      </p:sp>
    </p:spTree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p30"/>
          <p:cNvSpPr/>
          <p:nvPr/>
        </p:nvSpPr>
        <p:spPr>
          <a:xfrm>
            <a:off x="0" y="9236"/>
            <a:ext cx="12192000" cy="37788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19" name="Google Shape;319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336732" y="697009"/>
            <a:ext cx="5518535" cy="175714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20" name="Google Shape;320;p30"/>
          <p:cNvGrpSpPr/>
          <p:nvPr/>
        </p:nvGrpSpPr>
        <p:grpSpPr>
          <a:xfrm>
            <a:off x="2183194" y="4214128"/>
            <a:ext cx="2175300" cy="1884753"/>
            <a:chOff x="2173957" y="4214129"/>
            <a:chExt cx="2175300" cy="1884753"/>
          </a:xfrm>
        </p:grpSpPr>
        <p:grpSp>
          <p:nvGrpSpPr>
            <p:cNvPr id="321" name="Google Shape;321;p30"/>
            <p:cNvGrpSpPr/>
            <p:nvPr/>
          </p:nvGrpSpPr>
          <p:grpSpPr>
            <a:xfrm>
              <a:off x="2173957" y="4214129"/>
              <a:ext cx="2175300" cy="1884753"/>
              <a:chOff x="2173957" y="4214129"/>
              <a:chExt cx="2175300" cy="1884753"/>
            </a:xfrm>
          </p:grpSpPr>
          <p:sp>
            <p:nvSpPr>
              <p:cNvPr id="322" name="Google Shape;322;p30"/>
              <p:cNvSpPr txBox="1"/>
              <p:nvPr/>
            </p:nvSpPr>
            <p:spPr>
              <a:xfrm>
                <a:off x="2173957" y="5575682"/>
                <a:ext cx="2175300" cy="523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93A3E"/>
                  </a:buClr>
                  <a:buSzPts val="2400"/>
                  <a:buFont typeface="Avenir"/>
                  <a:buNone/>
                </a:pPr>
                <a:r>
                  <a:rPr lang="en-GB" sz="2400" b="0" i="0" u="none" strike="noStrike" cap="none" dirty="0">
                    <a:solidFill>
                      <a:srgbClr val="393A3E"/>
                    </a:solidFill>
                    <a:latin typeface="Avenir"/>
                    <a:ea typeface="Avenir"/>
                    <a:cs typeface="Avenir"/>
                    <a:sym typeface="Avenir"/>
                  </a:rPr>
                  <a:t>Complete</a:t>
                </a: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93A3E"/>
                  </a:buClr>
                  <a:buSzPts val="2400"/>
                  <a:buFont typeface="Avenir"/>
                  <a:buNone/>
                </a:pPr>
                <a:r>
                  <a:rPr lang="en-GB" sz="2400" b="0" i="0" u="none" strike="noStrike" cap="none" dirty="0">
                    <a:solidFill>
                      <a:srgbClr val="393A3E"/>
                    </a:solidFill>
                    <a:latin typeface="Avenir"/>
                    <a:ea typeface="Avenir"/>
                    <a:cs typeface="Avenir"/>
                    <a:sym typeface="Avenir"/>
                  </a:rPr>
                  <a:t>Data Security</a:t>
                </a:r>
                <a:endParaRPr sz="2400" b="0" i="0" u="none" strike="noStrike" cap="none" dirty="0">
                  <a:solidFill>
                    <a:srgbClr val="2BA120"/>
                  </a:solidFill>
                  <a:latin typeface="Avenir"/>
                  <a:ea typeface="Avenir"/>
                  <a:cs typeface="Avenir"/>
                  <a:sym typeface="Avenir"/>
                </a:endParaRPr>
              </a:p>
            </p:txBody>
          </p:sp>
          <p:sp>
            <p:nvSpPr>
              <p:cNvPr id="323" name="Google Shape;323;p30"/>
              <p:cNvSpPr/>
              <p:nvPr/>
            </p:nvSpPr>
            <p:spPr>
              <a:xfrm>
                <a:off x="2670353" y="4214129"/>
                <a:ext cx="1182600" cy="1182600"/>
              </a:xfrm>
              <a:prstGeom prst="rect">
                <a:avLst/>
              </a:prstGeom>
              <a:solidFill>
                <a:srgbClr val="2CA01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24" name="Google Shape;324;p30"/>
            <p:cNvGrpSpPr/>
            <p:nvPr/>
          </p:nvGrpSpPr>
          <p:grpSpPr>
            <a:xfrm>
              <a:off x="3025100" y="4551005"/>
              <a:ext cx="471951" cy="518439"/>
              <a:chOff x="3867560" y="983456"/>
              <a:chExt cx="4448175" cy="4886325"/>
            </a:xfrm>
          </p:grpSpPr>
          <p:sp>
            <p:nvSpPr>
              <p:cNvPr id="325" name="Google Shape;325;p30"/>
              <p:cNvSpPr/>
              <p:nvPr/>
            </p:nvSpPr>
            <p:spPr>
              <a:xfrm>
                <a:off x="3867560" y="983456"/>
                <a:ext cx="4448175" cy="4886325"/>
              </a:xfrm>
              <a:custGeom>
                <a:avLst/>
                <a:gdLst/>
                <a:ahLst/>
                <a:cxnLst/>
                <a:rect l="l" t="t" r="r" b="b"/>
                <a:pathLst>
                  <a:path w="4448175" h="4886325" extrusionOk="0">
                    <a:moveTo>
                      <a:pt x="4306596" y="782984"/>
                    </a:moveTo>
                    <a:cubicBezTo>
                      <a:pt x="3957714" y="782984"/>
                      <a:pt x="3673888" y="499148"/>
                      <a:pt x="3673888" y="150285"/>
                    </a:cubicBezTo>
                    <a:lnTo>
                      <a:pt x="3673888" y="7144"/>
                    </a:lnTo>
                    <a:lnTo>
                      <a:pt x="782984" y="7144"/>
                    </a:lnTo>
                    <a:lnTo>
                      <a:pt x="782984" y="150285"/>
                    </a:lnTo>
                    <a:cubicBezTo>
                      <a:pt x="782984" y="499167"/>
                      <a:pt x="499148" y="782984"/>
                      <a:pt x="150285" y="782984"/>
                    </a:cubicBezTo>
                    <a:lnTo>
                      <a:pt x="7144" y="782984"/>
                    </a:lnTo>
                    <a:lnTo>
                      <a:pt x="7144" y="1734893"/>
                    </a:lnTo>
                    <a:cubicBezTo>
                      <a:pt x="7144" y="2418931"/>
                      <a:pt x="213198" y="3077594"/>
                      <a:pt x="603056" y="3639665"/>
                    </a:cubicBezTo>
                    <a:cubicBezTo>
                      <a:pt x="992915" y="4201725"/>
                      <a:pt x="1537621" y="4625512"/>
                      <a:pt x="2178291" y="4865180"/>
                    </a:cubicBezTo>
                    <a:lnTo>
                      <a:pt x="2228441" y="4883944"/>
                    </a:lnTo>
                    <a:lnTo>
                      <a:pt x="2278599" y="4865180"/>
                    </a:lnTo>
                    <a:cubicBezTo>
                      <a:pt x="2919279" y="4625512"/>
                      <a:pt x="3463985" y="4201735"/>
                      <a:pt x="3853825" y="3639665"/>
                    </a:cubicBezTo>
                    <a:cubicBezTo>
                      <a:pt x="4243683" y="3077594"/>
                      <a:pt x="4449737" y="2418931"/>
                      <a:pt x="4449737" y="1734893"/>
                    </a:cubicBezTo>
                    <a:lnTo>
                      <a:pt x="4449737" y="782984"/>
                    </a:lnTo>
                    <a:lnTo>
                      <a:pt x="4306596" y="782984"/>
                    </a:lnTo>
                    <a:close/>
                    <a:moveTo>
                      <a:pt x="4163463" y="1734893"/>
                    </a:moveTo>
                    <a:lnTo>
                      <a:pt x="4163454" y="1734893"/>
                    </a:lnTo>
                    <a:cubicBezTo>
                      <a:pt x="4163454" y="2360343"/>
                      <a:pt x="3975040" y="2962570"/>
                      <a:pt x="3618576" y="3476492"/>
                    </a:cubicBezTo>
                    <a:cubicBezTo>
                      <a:pt x="3272352" y="3975678"/>
                      <a:pt x="2792501" y="4355583"/>
                      <a:pt x="2228431" y="4577772"/>
                    </a:cubicBezTo>
                    <a:cubicBezTo>
                      <a:pt x="1664370" y="4355573"/>
                      <a:pt x="1184510" y="3975678"/>
                      <a:pt x="838286" y="3476492"/>
                    </a:cubicBezTo>
                    <a:cubicBezTo>
                      <a:pt x="481832" y="2962580"/>
                      <a:pt x="293427" y="2360343"/>
                      <a:pt x="293427" y="1734893"/>
                    </a:cubicBezTo>
                    <a:lnTo>
                      <a:pt x="293427" y="1058142"/>
                    </a:lnTo>
                    <a:cubicBezTo>
                      <a:pt x="685762" y="996515"/>
                      <a:pt x="996515" y="685762"/>
                      <a:pt x="1058142" y="293427"/>
                    </a:cubicBezTo>
                    <a:lnTo>
                      <a:pt x="3398749" y="293427"/>
                    </a:lnTo>
                    <a:cubicBezTo>
                      <a:pt x="3460366" y="685762"/>
                      <a:pt x="3771119" y="996515"/>
                      <a:pt x="4163463" y="1058142"/>
                    </a:cubicBezTo>
                    <a:lnTo>
                      <a:pt x="4163463" y="1734893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26" name="Google Shape;326;p30"/>
              <p:cNvSpPr/>
              <p:nvPr/>
            </p:nvSpPr>
            <p:spPr>
              <a:xfrm>
                <a:off x="4842815" y="2328262"/>
                <a:ext cx="2505075" cy="2171700"/>
              </a:xfrm>
              <a:custGeom>
                <a:avLst/>
                <a:gdLst/>
                <a:ahLst/>
                <a:cxnLst/>
                <a:rect l="l" t="t" r="r" b="b"/>
                <a:pathLst>
                  <a:path w="2505075" h="2171700" extrusionOk="0">
                    <a:moveTo>
                      <a:pt x="1891913" y="7144"/>
                    </a:moveTo>
                    <a:lnTo>
                      <a:pt x="944394" y="954672"/>
                    </a:lnTo>
                    <a:lnTo>
                      <a:pt x="614439" y="624716"/>
                    </a:lnTo>
                    <a:lnTo>
                      <a:pt x="7144" y="1232021"/>
                    </a:lnTo>
                    <a:lnTo>
                      <a:pt x="944394" y="2169271"/>
                    </a:lnTo>
                    <a:lnTo>
                      <a:pt x="2499208" y="614448"/>
                    </a:lnTo>
                    <a:lnTo>
                      <a:pt x="1891913" y="7144"/>
                    </a:lnTo>
                    <a:close/>
                    <a:moveTo>
                      <a:pt x="412013" y="1232040"/>
                    </a:moveTo>
                    <a:lnTo>
                      <a:pt x="614448" y="1029605"/>
                    </a:lnTo>
                    <a:lnTo>
                      <a:pt x="944404" y="1359561"/>
                    </a:lnTo>
                    <a:lnTo>
                      <a:pt x="1891922" y="412033"/>
                    </a:lnTo>
                    <a:lnTo>
                      <a:pt x="2094357" y="614467"/>
                    </a:lnTo>
                    <a:lnTo>
                      <a:pt x="944404" y="1764421"/>
                    </a:lnTo>
                    <a:lnTo>
                      <a:pt x="412013" y="123204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Arial"/>
                  <a:buNone/>
                </a:pPr>
                <a:endParaRPr sz="1400" b="0" i="0" u="none" strike="noStrike" cap="none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327" name="Google Shape;327;p30"/>
          <p:cNvGrpSpPr/>
          <p:nvPr/>
        </p:nvGrpSpPr>
        <p:grpSpPr>
          <a:xfrm>
            <a:off x="5015839" y="4214129"/>
            <a:ext cx="2175300" cy="1946842"/>
            <a:chOff x="5015839" y="4214129"/>
            <a:chExt cx="2175300" cy="1946842"/>
          </a:xfrm>
        </p:grpSpPr>
        <p:sp>
          <p:nvSpPr>
            <p:cNvPr id="328" name="Google Shape;328;p30"/>
            <p:cNvSpPr txBox="1"/>
            <p:nvPr/>
          </p:nvSpPr>
          <p:spPr>
            <a:xfrm>
              <a:off x="5015839" y="5637771"/>
              <a:ext cx="2175300" cy="523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93A3E"/>
                </a:buClr>
                <a:buSzPts val="2400"/>
                <a:buFont typeface="Avenir"/>
                <a:buNone/>
              </a:pPr>
              <a:r>
                <a:rPr lang="en-GB" sz="2400" b="0" i="0" u="none" strike="noStrike" cap="none" dirty="0">
                  <a:solidFill>
                    <a:srgbClr val="393A3E"/>
                  </a:solidFill>
                  <a:latin typeface="Avenir"/>
                  <a:ea typeface="Avenir"/>
                  <a:cs typeface="Avenir"/>
                  <a:sym typeface="Avenir"/>
                </a:rPr>
                <a:t>Complete</a:t>
              </a:r>
              <a:endParaRPr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93A3E"/>
                </a:buClr>
                <a:buSzPts val="2400"/>
                <a:buFont typeface="Avenir"/>
                <a:buNone/>
              </a:pPr>
              <a:r>
                <a:rPr lang="en-GB" sz="2400" b="0" i="0" u="none" strike="noStrike" cap="none" dirty="0">
                  <a:solidFill>
                    <a:srgbClr val="393A3E"/>
                  </a:solidFill>
                  <a:latin typeface="Avenir"/>
                  <a:ea typeface="Avenir"/>
                  <a:cs typeface="Avenir"/>
                  <a:sym typeface="Avenir"/>
                </a:rPr>
                <a:t>Data Safety</a:t>
              </a:r>
              <a:endParaRPr sz="2400" b="0" i="0" u="none" strike="noStrike" cap="none" dirty="0">
                <a:solidFill>
                  <a:srgbClr val="2BA12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29" name="Google Shape;329;p30"/>
            <p:cNvSpPr/>
            <p:nvPr/>
          </p:nvSpPr>
          <p:spPr>
            <a:xfrm>
              <a:off x="5504746" y="4214129"/>
              <a:ext cx="1182600" cy="1182600"/>
            </a:xfrm>
            <a:prstGeom prst="rect">
              <a:avLst/>
            </a:prstGeom>
            <a:solidFill>
              <a:srgbClr val="2CA0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30" name="Google Shape;330;p3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772948" y="4408659"/>
              <a:ext cx="646103" cy="64610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31" name="Google Shape;331;p30"/>
          <p:cNvGrpSpPr/>
          <p:nvPr/>
        </p:nvGrpSpPr>
        <p:grpSpPr>
          <a:xfrm>
            <a:off x="7812797" y="4214128"/>
            <a:ext cx="2175300" cy="1946843"/>
            <a:chOff x="7812797" y="4214128"/>
            <a:chExt cx="2175300" cy="1946843"/>
          </a:xfrm>
        </p:grpSpPr>
        <p:sp>
          <p:nvSpPr>
            <p:cNvPr id="332" name="Google Shape;332;p30"/>
            <p:cNvSpPr txBox="1"/>
            <p:nvPr/>
          </p:nvSpPr>
          <p:spPr>
            <a:xfrm>
              <a:off x="7812797" y="5637771"/>
              <a:ext cx="2175300" cy="523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93A3E"/>
                </a:buClr>
                <a:buSzPts val="2400"/>
                <a:buFont typeface="Avenir"/>
                <a:buNone/>
              </a:pPr>
              <a:r>
                <a:rPr lang="en-GB" sz="2400" b="0" i="0" u="none" strike="noStrike" cap="none" dirty="0">
                  <a:solidFill>
                    <a:srgbClr val="393A3E"/>
                  </a:solidFill>
                  <a:latin typeface="Avenir"/>
                  <a:ea typeface="Avenir"/>
                  <a:cs typeface="Avenir"/>
                  <a:sym typeface="Avenir"/>
                </a:rPr>
                <a:t>Complete</a:t>
              </a:r>
              <a:endParaRPr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93A3E"/>
                </a:buClr>
                <a:buSzPts val="2400"/>
                <a:buFont typeface="Avenir"/>
                <a:buNone/>
              </a:pPr>
              <a:r>
                <a:rPr lang="en-GB" sz="2400" b="0" i="0" u="none" strike="noStrike" cap="none" dirty="0">
                  <a:solidFill>
                    <a:srgbClr val="393A3E"/>
                  </a:solidFill>
                  <a:latin typeface="Avenir"/>
                  <a:ea typeface="Avenir"/>
                  <a:cs typeface="Avenir"/>
                  <a:sym typeface="Avenir"/>
                </a:rPr>
                <a:t>Data Privacy</a:t>
              </a:r>
              <a:endParaRPr sz="2400" b="0" i="0" u="none" strike="noStrike" cap="none" dirty="0">
                <a:solidFill>
                  <a:srgbClr val="2BA120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333" name="Google Shape;333;p30"/>
            <p:cNvSpPr/>
            <p:nvPr/>
          </p:nvSpPr>
          <p:spPr>
            <a:xfrm>
              <a:off x="8310067" y="4214128"/>
              <a:ext cx="1182600" cy="1182600"/>
            </a:xfrm>
            <a:prstGeom prst="rect">
              <a:avLst/>
            </a:prstGeom>
            <a:solidFill>
              <a:srgbClr val="2CA01C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34" name="Google Shape;334;p3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8626701" y="4506073"/>
              <a:ext cx="563436" cy="56343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35" name="Google Shape;335;p30"/>
          <p:cNvSpPr txBox="1"/>
          <p:nvPr/>
        </p:nvSpPr>
        <p:spPr>
          <a:xfrm>
            <a:off x="1699491" y="2454156"/>
            <a:ext cx="8855700" cy="5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venir"/>
              <a:buNone/>
            </a:pPr>
            <a:r>
              <a:rPr lang="en-GB" sz="2800" b="0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New Age Accounting Software for Modern Businesses</a:t>
            </a:r>
            <a:endParaRPr sz="280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014625" y="1035645"/>
            <a:ext cx="10058400" cy="5486400"/>
            <a:chOff x="0" y="0"/>
            <a:chExt cx="12192000" cy="6856326"/>
          </a:xfrm>
        </p:grpSpPr>
        <p:grpSp>
          <p:nvGrpSpPr>
            <p:cNvPr id="2" name="Group 1"/>
            <p:cNvGrpSpPr/>
            <p:nvPr/>
          </p:nvGrpSpPr>
          <p:grpSpPr>
            <a:xfrm>
              <a:off x="0" y="0"/>
              <a:ext cx="12192000" cy="6856326"/>
              <a:chOff x="0" y="0"/>
              <a:chExt cx="12192000" cy="6856326"/>
            </a:xfrm>
          </p:grpSpPr>
          <p:pic>
            <p:nvPicPr>
              <p:cNvPr id="150" name="Google Shape;150;p9"/>
              <p:cNvPicPr preferRelativeResize="0"/>
              <p:nvPr/>
            </p:nvPicPr>
            <p:blipFill rotWithShape="1">
              <a:blip r:embed="rId3">
                <a:alphaModFix/>
              </a:blip>
              <a:srcRect/>
              <a:stretch/>
            </p:blipFill>
            <p:spPr>
              <a:xfrm>
                <a:off x="0" y="1673"/>
                <a:ext cx="12192000" cy="6854653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51" name="Google Shape;151;p9"/>
              <p:cNvSpPr/>
              <p:nvPr/>
            </p:nvSpPr>
            <p:spPr>
              <a:xfrm>
                <a:off x="3268133" y="0"/>
                <a:ext cx="8923867" cy="6536987"/>
              </a:xfrm>
              <a:prstGeom prst="rect">
                <a:avLst/>
              </a:prstGeom>
              <a:solidFill>
                <a:srgbClr val="757070">
                  <a:alpha val="63921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 dirty="0">
                  <a:solidFill>
                    <a:srgbClr val="AEABAB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152" name="Google Shape;152;p9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494057" y="1614076"/>
              <a:ext cx="753972" cy="54368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3" name="Google Shape;153;p9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 flipH="1">
              <a:off x="865239" y="1972999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" name="Title 1"/>
          <p:cNvSpPr txBox="1">
            <a:spLocks/>
          </p:cNvSpPr>
          <p:nvPr/>
        </p:nvSpPr>
        <p:spPr>
          <a:xfrm>
            <a:off x="1039493" y="387898"/>
            <a:ext cx="7915321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From the Dashboard / Home Page, Select ‘Banking’</a:t>
            </a:r>
            <a:endParaRPr lang="en-US" sz="2400" b="1" dirty="0">
              <a:solidFill>
                <a:schemeClr val="accent1"/>
              </a:solidFill>
              <a:latin typeface="AvenirNext forINTUIT" panose="020B0503020202020204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1039493" y="387898"/>
            <a:ext cx="7915321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Click ‘Connect’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28700" y="995361"/>
            <a:ext cx="10058400" cy="5486400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03949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Search for ICICI Bank and select </a:t>
            </a:r>
          </a:p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ICICI Bank – Business Banking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34096" y="976150"/>
            <a:ext cx="10058400" cy="5486400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103949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Enter your ICICI Bank Corporate ID &amp; User ID, Login ID, </a:t>
            </a:r>
          </a:p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Current Account # and click ‘Continue’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7680" y="965528"/>
            <a:ext cx="10058400" cy="5486400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Google Shape;196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28700" y="1028700"/>
            <a:ext cx="10058400" cy="54864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Complete the captcha and select continue. QuickBooks will send a connection request to ICICI Bank</a:t>
            </a:r>
          </a:p>
        </p:txBody>
      </p:sp>
    </p:spTree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-29857"/>
            <a:chExt cx="12192000" cy="6854653"/>
          </a:xfrm>
        </p:grpSpPr>
        <p:pic>
          <p:nvPicPr>
            <p:cNvPr id="202" name="Google Shape;202;p1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-29857"/>
              <a:ext cx="12192000" cy="685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3" name="Google Shape;203;p15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flipH="1">
              <a:off x="5839724" y="2468806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Click on the Rectangular Box. A dropdown list will appear listing all the Bank Accounts in your chart of accounts</a:t>
            </a:r>
          </a:p>
        </p:txBody>
      </p:sp>
    </p:spTree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28700" y="1028700"/>
            <a:ext cx="10058400" cy="5486400"/>
            <a:chOff x="0" y="1673"/>
            <a:chExt cx="12192000" cy="6854653"/>
          </a:xfrm>
        </p:grpSpPr>
        <p:pic>
          <p:nvPicPr>
            <p:cNvPr id="209" name="Google Shape;209;p16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0" y="1673"/>
              <a:ext cx="12192000" cy="685465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0" name="Google Shape;210;p16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flipH="1">
              <a:off x="9149852" y="3465513"/>
              <a:ext cx="512552" cy="36951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" name="Title 1"/>
          <p:cNvSpPr txBox="1">
            <a:spLocks/>
          </p:cNvSpPr>
          <p:nvPr/>
        </p:nvSpPr>
        <p:spPr>
          <a:xfrm>
            <a:off x="1028983" y="387898"/>
            <a:ext cx="1004760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 dirty="0" smtClean="0">
                <a:solidFill>
                  <a:schemeClr val="accent1"/>
                </a:solidFill>
                <a:latin typeface="AvenirNext forINTUIT" panose="020B0503020202020204" pitchFamily="34" charset="0"/>
              </a:rPr>
              <a:t>Select the appropriate account to be linked to your ICICI Bank Current Account </a:t>
            </a:r>
          </a:p>
        </p:txBody>
      </p:sp>
    </p:spTree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tuit v01">
  <a:themeElements>
    <a:clrScheme name="Intuit">
      <a:dk1>
        <a:srgbClr val="000000"/>
      </a:dk1>
      <a:lt1>
        <a:srgbClr val="FFFFFF"/>
      </a:lt1>
      <a:dk2>
        <a:srgbClr val="8D9096"/>
      </a:dk2>
      <a:lt2>
        <a:srgbClr val="BABEC5"/>
      </a:lt2>
      <a:accent1>
        <a:srgbClr val="0077C5"/>
      </a:accent1>
      <a:accent2>
        <a:srgbClr val="34BFFF"/>
      </a:accent2>
      <a:accent3>
        <a:srgbClr val="6B6C72"/>
      </a:accent3>
      <a:accent4>
        <a:srgbClr val="7FD000"/>
      </a:accent4>
      <a:accent5>
        <a:srgbClr val="FF8000"/>
      </a:accent5>
      <a:accent6>
        <a:srgbClr val="D52B1E"/>
      </a:accent6>
      <a:hlink>
        <a:srgbClr val="0077C5"/>
      </a:hlink>
      <a:folHlink>
        <a:srgbClr val="6436AF"/>
      </a:folHlink>
    </a:clrScheme>
    <a:fontScheme name="Intuit">
      <a:majorFont>
        <a:latin typeface="AvenirNext forINTUIT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AvenirNext forINTUIT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tuit v02" id="{AF7FFDCE-F5D3-2A49-B3F0-93040515F076}" vid="{32ED90EC-7969-6843-9F32-4EB7BE1C8727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2</Words>
  <Application>Microsoft Office PowerPoint</Application>
  <PresentationFormat>Widescreen</PresentationFormat>
  <Paragraphs>49</Paragraphs>
  <Slides>20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venir</vt:lpstr>
      <vt:lpstr>Arial</vt:lpstr>
      <vt:lpstr>Merriweather Sans</vt:lpstr>
      <vt:lpstr>AvenirNext forINTUIT</vt:lpstr>
      <vt:lpstr>Calibri</vt:lpstr>
      <vt:lpstr>Avenir Next Regular</vt:lpstr>
      <vt:lpstr>Lucida Grande</vt:lpstr>
      <vt:lpstr>Avenir Next Demi Bold</vt:lpstr>
      <vt:lpstr>Intuit v01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26T16:07:04Z</dcterms:created>
  <dcterms:modified xsi:type="dcterms:W3CDTF">2019-09-26T16:13:47Z</dcterms:modified>
</cp:coreProperties>
</file>